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1"/>
  </p:sldMasterIdLst>
  <p:notesMasterIdLst>
    <p:notesMasterId r:id="rId3"/>
  </p:notesMasterIdLst>
  <p:sldIdLst>
    <p:sldId id="2147374958" r:id="rId2"/>
  </p:sldIdLst>
  <p:sldSz cx="18288000" cy="10287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98D9D5"/>
    <a:srgbClr val="E67E22"/>
    <a:srgbClr val="28B1A7"/>
    <a:srgbClr val="19447A"/>
    <a:srgbClr val="409FA6"/>
    <a:srgbClr val="FFFFFF"/>
    <a:srgbClr val="176B86"/>
    <a:srgbClr val="195480"/>
    <a:srgbClr val="24AF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072" autoAdjust="0"/>
    <p:restoredTop sz="96247" autoAdjust="0"/>
  </p:normalViewPr>
  <p:slideViewPr>
    <p:cSldViewPr>
      <p:cViewPr varScale="1">
        <p:scale>
          <a:sx n="74" d="100"/>
          <a:sy n="74" d="100"/>
        </p:scale>
        <p:origin x="684" y="6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1356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0.99912352356944534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70B5-44D1-A627-89C67CE85E85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70B5-44D1-A627-89C67CE85E85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70B5-44D1-A627-89C67CE85E85}"/>
              </c:ext>
            </c:extLst>
          </c:dPt>
          <c:dLbls>
            <c:dLbl>
              <c:idx val="0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42238007392480642"/>
                      <c:h val="0.12936621804709009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70B5-44D1-A627-89C67CE85E85}"/>
                </c:ext>
              </c:extLst>
            </c:dLbl>
            <c:dLbl>
              <c:idx val="1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43661362520705893"/>
                      <c:h val="0.12936621804709009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70B5-44D1-A627-89C67CE85E85}"/>
                </c:ext>
              </c:extLst>
            </c:dLbl>
            <c:dLbl>
              <c:idx val="2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9107612372206243"/>
                      <c:h val="9.9463822828769255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70B5-44D1-A627-89C67CE85E85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Category 4</c:v>
                </c:pt>
                <c:pt idx="1">
                  <c:v>Category 4</c:v>
                </c:pt>
                <c:pt idx="2">
                  <c:v>Category 4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1500</c:v>
                </c:pt>
                <c:pt idx="1">
                  <c:v>1100</c:v>
                </c:pt>
                <c:pt idx="2">
                  <c:v>7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70B5-44D1-A627-89C67CE85E8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394669455"/>
        <c:axId val="394646159"/>
      </c:barChart>
      <c:catAx>
        <c:axId val="394669455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394646159"/>
        <c:crosses val="autoZero"/>
        <c:auto val="1"/>
        <c:lblAlgn val="ctr"/>
        <c:lblOffset val="100"/>
        <c:noMultiLvlLbl val="0"/>
      </c:catAx>
      <c:valAx>
        <c:axId val="394646159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39466945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rgbClr val="FFFFFF"/>
          </a:solidFill>
          <a:latin typeface="+mn-lt"/>
          <a:ea typeface="Arial"/>
          <a:cs typeface="Arial"/>
        </a:defRPr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0.99912352356944534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33F5-490D-8120-09546BAF2D19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33F5-490D-8120-09546BAF2D19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33F5-490D-8120-09546BAF2D19}"/>
              </c:ext>
            </c:extLst>
          </c:dPt>
          <c:dLbls>
            <c:dLbl>
              <c:idx val="0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42238007392480642"/>
                      <c:h val="0.12936621804709009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33F5-490D-8120-09546BAF2D19}"/>
                </c:ext>
              </c:extLst>
            </c:dLbl>
            <c:dLbl>
              <c:idx val="1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9391297136030162"/>
                      <c:h val="0.12936621804709009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33F5-490D-8120-09546BAF2D19}"/>
                </c:ext>
              </c:extLst>
            </c:dLbl>
            <c:dLbl>
              <c:idx val="2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9107612372206243"/>
                      <c:h val="9.9463822828769255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33F5-490D-8120-09546BAF2D19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Category 4</c:v>
                </c:pt>
                <c:pt idx="1">
                  <c:v>Category 4</c:v>
                </c:pt>
                <c:pt idx="2">
                  <c:v>Category 4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1050</c:v>
                </c:pt>
                <c:pt idx="1">
                  <c:v>1010</c:v>
                </c:pt>
                <c:pt idx="2">
                  <c:v>7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3F5-490D-8120-09546BAF2D1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394669455"/>
        <c:axId val="394646159"/>
      </c:barChart>
      <c:catAx>
        <c:axId val="394669455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394646159"/>
        <c:crosses val="autoZero"/>
        <c:auto val="1"/>
        <c:lblAlgn val="ctr"/>
        <c:lblOffset val="100"/>
        <c:noMultiLvlLbl val="0"/>
      </c:catAx>
      <c:valAx>
        <c:axId val="394646159"/>
        <c:scaling>
          <c:orientation val="minMax"/>
          <c:max val="2000"/>
        </c:scaling>
        <c:delete val="1"/>
        <c:axPos val="b"/>
        <c:numFmt formatCode="General" sourceLinked="1"/>
        <c:majorTickMark val="out"/>
        <c:minorTickMark val="none"/>
        <c:tickLblPos val="nextTo"/>
        <c:crossAx val="394669455"/>
        <c:crosses val="autoZero"/>
        <c:crossBetween val="between"/>
        <c:majorUnit val="5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rgbClr val="FFFFFF"/>
          </a:solidFill>
          <a:latin typeface="+mn-lt"/>
          <a:ea typeface="Arial"/>
          <a:cs typeface="Arial"/>
        </a:defRPr>
      </a:pPr>
      <a:endParaRPr lang="en-U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0.99912352356944534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90D-4185-BDEE-6B7971651CF5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90D-4185-BDEE-6B7971651CF5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090D-4185-BDEE-6B7971651CF5}"/>
              </c:ext>
            </c:extLst>
          </c:dPt>
          <c:dLbls>
            <c:dLbl>
              <c:idx val="0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9391297136030162"/>
                      <c:h val="0.12936621804709009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090D-4185-BDEE-6B7971651CF5}"/>
                </c:ext>
              </c:extLst>
            </c:dLbl>
            <c:dLbl>
              <c:idx val="1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42238007392480642"/>
                      <c:h val="0.12936621804709009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090D-4185-BDEE-6B7971651CF5}"/>
                </c:ext>
              </c:extLst>
            </c:dLbl>
            <c:dLbl>
              <c:idx val="2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1954322628656734"/>
                      <c:h val="9.9463822828769255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090D-4185-BDEE-6B7971651CF5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Category 4</c:v>
                </c:pt>
                <c:pt idx="1">
                  <c:v>Category 4</c:v>
                </c:pt>
                <c:pt idx="2">
                  <c:v>Category 4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1350</c:v>
                </c:pt>
                <c:pt idx="1">
                  <c:v>1000</c:v>
                </c:pt>
                <c:pt idx="2">
                  <c:v>8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090D-4185-BDEE-6B7971651CF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394669455"/>
        <c:axId val="394646159"/>
      </c:barChart>
      <c:catAx>
        <c:axId val="394669455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394646159"/>
        <c:crosses val="autoZero"/>
        <c:auto val="1"/>
        <c:lblAlgn val="ctr"/>
        <c:lblOffset val="100"/>
        <c:noMultiLvlLbl val="0"/>
      </c:catAx>
      <c:valAx>
        <c:axId val="394646159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39466945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rgbClr val="FFFFFF"/>
          </a:solidFill>
          <a:latin typeface="+mn-lt"/>
          <a:ea typeface="Arial"/>
          <a:cs typeface="Arial"/>
        </a:defRPr>
      </a:pPr>
      <a:endParaRPr lang="en-US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0.99912352356944534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C267-47EB-9119-1AF569E9D81C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C267-47EB-9119-1AF569E9D81C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C267-47EB-9119-1AF569E9D81C}"/>
              </c:ext>
            </c:extLst>
          </c:dPt>
          <c:dLbls>
            <c:dLbl>
              <c:idx val="0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40814652264255402"/>
                      <c:h val="0.12936621804709009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C267-47EB-9119-1AF569E9D81C}"/>
                </c:ext>
              </c:extLst>
            </c:dLbl>
            <c:dLbl>
              <c:idx val="1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40814652264255402"/>
                      <c:h val="0.12936621804709009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C267-47EB-9119-1AF569E9D81C}"/>
                </c:ext>
              </c:extLst>
            </c:dLbl>
            <c:dLbl>
              <c:idx val="2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40814652264255402"/>
                      <c:h val="0.12936621804709009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C267-47EB-9119-1AF569E9D81C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Category 4</c:v>
                </c:pt>
                <c:pt idx="1">
                  <c:v>Category 4</c:v>
                </c:pt>
                <c:pt idx="2">
                  <c:v>Category 4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1000</c:v>
                </c:pt>
                <c:pt idx="1">
                  <c:v>1200</c:v>
                </c:pt>
                <c:pt idx="2">
                  <c:v>15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267-47EB-9119-1AF569E9D81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394669455"/>
        <c:axId val="394646159"/>
      </c:barChart>
      <c:catAx>
        <c:axId val="394669455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394646159"/>
        <c:crosses val="autoZero"/>
        <c:auto val="1"/>
        <c:lblAlgn val="ctr"/>
        <c:lblOffset val="100"/>
        <c:noMultiLvlLbl val="0"/>
      </c:catAx>
      <c:valAx>
        <c:axId val="394646159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39466945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rgbClr val="FFFFFF"/>
          </a:solidFill>
          <a:latin typeface="+mn-lt"/>
          <a:ea typeface="Arial"/>
          <a:cs typeface="Arial"/>
        </a:defRPr>
      </a:pPr>
      <a:endParaRPr lang="en-US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0.99912352356944534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3246-490E-B5FB-32992B5DB9FF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3246-490E-B5FB-32992B5DB9FF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3246-490E-B5FB-32992B5DB9FF}"/>
              </c:ext>
            </c:extLst>
          </c:dPt>
          <c:dLbls>
            <c:dLbl>
              <c:idx val="0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7967942007804917"/>
                      <c:h val="0.12936621804709009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3246-490E-B5FB-32992B5DB9FF}"/>
                </c:ext>
              </c:extLst>
            </c:dLbl>
            <c:dLbl>
              <c:idx val="1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7967942007804917"/>
                      <c:h val="0.12936621804709009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3246-490E-B5FB-32992B5DB9FF}"/>
                </c:ext>
              </c:extLst>
            </c:dLbl>
            <c:dLbl>
              <c:idx val="2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9107612372206243"/>
                      <c:h val="9.9463822828769255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3246-490E-B5FB-32992B5DB9FF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Category 4</c:v>
                </c:pt>
                <c:pt idx="1">
                  <c:v>Category 4</c:v>
                </c:pt>
                <c:pt idx="2">
                  <c:v>Category 4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1500</c:v>
                </c:pt>
                <c:pt idx="1">
                  <c:v>1100</c:v>
                </c:pt>
                <c:pt idx="2">
                  <c:v>7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246-490E-B5FB-32992B5DB9F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394669455"/>
        <c:axId val="394646159"/>
      </c:barChart>
      <c:catAx>
        <c:axId val="394669455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394646159"/>
        <c:crosses val="autoZero"/>
        <c:auto val="1"/>
        <c:lblAlgn val="ctr"/>
        <c:lblOffset val="100"/>
        <c:noMultiLvlLbl val="0"/>
      </c:catAx>
      <c:valAx>
        <c:axId val="394646159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39466945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rgbClr val="FFFFFF"/>
          </a:solidFill>
          <a:latin typeface="+mn-lt"/>
          <a:ea typeface="Arial"/>
          <a:cs typeface="Arial"/>
        </a:defRPr>
      </a:pPr>
      <a:endParaRPr lang="en-US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0.99912352356944534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9382-4022-A40F-D809B4CBF68D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9382-4022-A40F-D809B4CBF68D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9382-4022-A40F-D809B4CBF68D}"/>
              </c:ext>
            </c:extLst>
          </c:dPt>
          <c:dLbls>
            <c:dLbl>
              <c:idx val="0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42238007392480642"/>
                      <c:h val="0.12936621804709009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9382-4022-A40F-D809B4CBF68D}"/>
                </c:ext>
              </c:extLst>
            </c:dLbl>
            <c:dLbl>
              <c:idx val="1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46508072777156384"/>
                      <c:h val="0.12936621804709009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9382-4022-A40F-D809B4CBF68D}"/>
                </c:ext>
              </c:extLst>
            </c:dLbl>
            <c:dLbl>
              <c:idx val="2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40814652264255402"/>
                      <c:h val="0.12936621804709009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9382-4022-A40F-D809B4CBF68D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Category 4</c:v>
                </c:pt>
                <c:pt idx="1">
                  <c:v>Category 4</c:v>
                </c:pt>
                <c:pt idx="2">
                  <c:v>Category 4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1100</c:v>
                </c:pt>
                <c:pt idx="1">
                  <c:v>1600</c:v>
                </c:pt>
                <c:pt idx="2">
                  <c:v>12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9382-4022-A40F-D809B4CBF68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394669455"/>
        <c:axId val="394646159"/>
      </c:barChart>
      <c:catAx>
        <c:axId val="394669455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394646159"/>
        <c:crosses val="autoZero"/>
        <c:auto val="1"/>
        <c:lblAlgn val="ctr"/>
        <c:lblOffset val="100"/>
        <c:noMultiLvlLbl val="0"/>
      </c:catAx>
      <c:valAx>
        <c:axId val="394646159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39466945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rgbClr val="FFFFFF"/>
          </a:solidFill>
          <a:latin typeface="+mn-lt"/>
          <a:ea typeface="Arial"/>
          <a:cs typeface="Arial"/>
        </a:defRPr>
      </a:pPr>
      <a:endParaRPr lang="en-US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0.99912352356944534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AB86-47BF-A105-5B6EFFA73ADF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AB86-47BF-A105-5B6EFFA73ADF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AB86-47BF-A105-5B6EFFA73ADF}"/>
              </c:ext>
            </c:extLst>
          </c:dPt>
          <c:dLbls>
            <c:dLbl>
              <c:idx val="0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43661362520705893"/>
                      <c:h val="0.12936621804709009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AB86-47BF-A105-5B6EFFA73ADF}"/>
                </c:ext>
              </c:extLst>
            </c:dLbl>
            <c:dLbl>
              <c:idx val="1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43661362520705893"/>
                      <c:h val="0.12936621804709009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AB86-47BF-A105-5B6EFFA73ADF}"/>
                </c:ext>
              </c:extLst>
            </c:dLbl>
            <c:dLbl>
              <c:idx val="2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9107612372206243"/>
                      <c:h val="9.9463822828769255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AB86-47BF-A105-5B6EFFA73ADF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Category 4</c:v>
                </c:pt>
                <c:pt idx="1">
                  <c:v>Category 4</c:v>
                </c:pt>
                <c:pt idx="2">
                  <c:v>Category 4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1500</c:v>
                </c:pt>
                <c:pt idx="1">
                  <c:v>1100</c:v>
                </c:pt>
                <c:pt idx="2">
                  <c:v>7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B86-47BF-A105-5B6EFFA73AD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394669455"/>
        <c:axId val="394646159"/>
      </c:barChart>
      <c:catAx>
        <c:axId val="394669455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394646159"/>
        <c:crosses val="autoZero"/>
        <c:auto val="1"/>
        <c:lblAlgn val="ctr"/>
        <c:lblOffset val="100"/>
        <c:noMultiLvlLbl val="0"/>
      </c:catAx>
      <c:valAx>
        <c:axId val="394646159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39466945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rgbClr val="FFFFFF"/>
          </a:solidFill>
          <a:latin typeface="+mn-lt"/>
          <a:ea typeface="Arial"/>
          <a:cs typeface="Arial"/>
        </a:defRPr>
      </a:pPr>
      <a:endParaRPr lang="en-US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4A9DF2-70EC-4B96-A053-2561A61F337D}" type="datetimeFigureOut">
              <a:rPr lang="en-US" smtClean="0"/>
              <a:t>10/6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588163-CFC1-4ACA-9600-FB08ECAA64C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42730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18" name="Rectangle: Top Corners Rounded 17">
            <a:extLst>
              <a:ext uri="{FF2B5EF4-FFF2-40B4-BE49-F238E27FC236}">
                <a16:creationId xmlns:a16="http://schemas.microsoft.com/office/drawing/2014/main" id="{3291871F-0CB1-875A-9049-68A6FF376A9F}"/>
              </a:ext>
            </a:extLst>
          </p:cNvPr>
          <p:cNvSpPr/>
          <p:nvPr userDrawn="1"/>
        </p:nvSpPr>
        <p:spPr>
          <a:xfrm rot="16200000">
            <a:off x="13724272" y="4965082"/>
            <a:ext cx="8770621" cy="35683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72195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16859250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16859250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5A63069-1EAF-AC1C-97F9-C6A4F1AC74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76448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18F72F67-E422-837C-5299-028113A715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98983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F5E5A91E-2C73-14D1-B898-2EBE3672C0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18951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93705F-9234-C263-3A1B-3A252A19B0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19039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504063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1369314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36688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9E0C1D-F688-75FA-168B-CF3FAA201C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54846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11218918" y="1889655"/>
            <a:ext cx="6354707" cy="732557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1889655"/>
            <a:ext cx="10230224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B0F2C62-4F31-15FD-84E2-56D51B71A4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82185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42556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1213675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5A7FA16-0C02-E692-8526-16F583C3F04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42B77EF-A62E-AAFD-BC1D-629764A00EC2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42556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9E870889-49DC-DDA8-AC0C-91F97C821391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1213675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050601D-DC9F-2EFA-8CF3-B8A12ACF30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45453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074A52-9FFC-AC39-C5C6-B5E84AC597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22253" y="317500"/>
            <a:ext cx="9420224" cy="126682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42FC55-4D2C-6A55-9DC3-D3F5645AFA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122253" y="9520560"/>
            <a:ext cx="7776000" cy="44894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DAABA0-A95A-CC14-B3A9-50073A443C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4638F13-1CD3-7690-D13A-99CF303E4C3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7315200" cy="10287000"/>
          </a:xfrm>
          <a:pattFill prst="pct5">
            <a:fgClr>
              <a:schemeClr val="bg1">
                <a:lumMod val="50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479370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49" y="321983"/>
            <a:ext cx="17016168" cy="110170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8649" y="1893095"/>
            <a:ext cx="17015045" cy="571261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5810818" y="9975444"/>
            <a:ext cx="2477183" cy="310614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800">
                <a:solidFill>
                  <a:schemeClr val="bg1"/>
                </a:solidFill>
                <a:latin typeface="Crimson Pro" pitchFamily="2" charset="0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49041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BFB0A42F-E6A3-CB96-9852-85C86F511AD6}"/>
              </a:ext>
            </a:extLst>
          </p:cNvPr>
          <p:cNvGrpSpPr/>
          <p:nvPr userDrawn="1"/>
        </p:nvGrpSpPr>
        <p:grpSpPr>
          <a:xfrm>
            <a:off x="11692218" y="0"/>
            <a:ext cx="6595782" cy="10287000"/>
            <a:chOff x="7794812" y="0"/>
            <a:chExt cx="4397188" cy="6858000"/>
          </a:xfrm>
        </p:grpSpPr>
        <p:sp>
          <p:nvSpPr>
            <p:cNvPr id="9" name="Isosceles Triangle 8">
              <a:extLst>
                <a:ext uri="{FF2B5EF4-FFF2-40B4-BE49-F238E27FC236}">
                  <a16:creationId xmlns:a16="http://schemas.microsoft.com/office/drawing/2014/main" id="{04244303-0891-69A8-2D9D-161F4AE9C4AF}"/>
                </a:ext>
              </a:extLst>
            </p:cNvPr>
            <p:cNvSpPr/>
            <p:nvPr/>
          </p:nvSpPr>
          <p:spPr>
            <a:xfrm flipH="1">
              <a:off x="7794812" y="1371600"/>
              <a:ext cx="4397188" cy="5486400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EAA11CFF-61B1-248D-7099-2F8686DECDAB}"/>
                </a:ext>
              </a:extLst>
            </p:cNvPr>
            <p:cNvSpPr/>
            <p:nvPr/>
          </p:nvSpPr>
          <p:spPr>
            <a:xfrm flipH="1">
              <a:off x="11261904" y="1371600"/>
              <a:ext cx="930096" cy="2407024"/>
            </a:xfrm>
            <a:custGeom>
              <a:avLst/>
              <a:gdLst>
                <a:gd name="connsiteX0" fmla="*/ 0 w 930096"/>
                <a:gd name="connsiteY0" fmla="*/ 0 h 2407024"/>
                <a:gd name="connsiteX1" fmla="*/ 0 w 930096"/>
                <a:gd name="connsiteY1" fmla="*/ 2407024 h 2407024"/>
                <a:gd name="connsiteX2" fmla="*/ 930096 w 930096"/>
                <a:gd name="connsiteY2" fmla="*/ 1160488 h 2407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30096" h="2407024">
                  <a:moveTo>
                    <a:pt x="0" y="0"/>
                  </a:moveTo>
                  <a:lnTo>
                    <a:pt x="0" y="2407024"/>
                  </a:lnTo>
                  <a:lnTo>
                    <a:pt x="930096" y="1160488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1" name="Isosceles Triangle 10">
              <a:extLst>
                <a:ext uri="{FF2B5EF4-FFF2-40B4-BE49-F238E27FC236}">
                  <a16:creationId xmlns:a16="http://schemas.microsoft.com/office/drawing/2014/main" id="{606BB107-8387-8780-6BFC-A3410E9BB552}"/>
                </a:ext>
              </a:extLst>
            </p:cNvPr>
            <p:cNvSpPr/>
            <p:nvPr/>
          </p:nvSpPr>
          <p:spPr>
            <a:xfrm rot="10800000">
              <a:off x="9838765" y="0"/>
              <a:ext cx="2353235" cy="3778624"/>
            </a:xfrm>
            <a:prstGeom prst="triangle">
              <a:avLst>
                <a:gd name="adj" fmla="val 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</p:grpSp>
    </p:spTree>
    <p:extLst>
      <p:ext uri="{BB962C8B-B14F-4D97-AF65-F5344CB8AC3E}">
        <p14:creationId xmlns:p14="http://schemas.microsoft.com/office/powerpoint/2010/main" val="7833343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4375" y="1889656"/>
            <a:ext cx="1685925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222D0E30-8C97-0C62-9094-8D3CF38657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36005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/3 Chart and 1/3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197654" y="1889656"/>
            <a:ext cx="537597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11026079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303149-442B-8EAA-BA7D-E9F6CCBA73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24686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/2 Chart and 1/2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4375" y="317500"/>
            <a:ext cx="16859250" cy="1266827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2600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51410E-3F60-2499-76A8-F25BD0C1A9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70725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3A7D6DD-B72F-C610-7786-CA13806E48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76848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9" name="Picture Placeholder 13">
            <a:extLst>
              <a:ext uri="{FF2B5EF4-FFF2-40B4-BE49-F238E27FC236}">
                <a16:creationId xmlns:a16="http://schemas.microsoft.com/office/drawing/2014/main" id="{9D74F7B4-56BE-27DF-FDAA-A1BCDA9A8F0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30550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13">
            <a:extLst>
              <a:ext uri="{FF2B5EF4-FFF2-40B4-BE49-F238E27FC236}">
                <a16:creationId xmlns:a16="http://schemas.microsoft.com/office/drawing/2014/main" id="{0C3A3381-05D7-EDB1-879C-6EB643DC25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8479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3D2462CD-6AA5-05E5-182A-40899E86BAD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226408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2" name="Picture Placeholder 13">
            <a:extLst>
              <a:ext uri="{FF2B5EF4-FFF2-40B4-BE49-F238E27FC236}">
                <a16:creationId xmlns:a16="http://schemas.microsoft.com/office/drawing/2014/main" id="{BA0F11DD-391D-B2C8-92A6-95898DED8AA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4024336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13">
            <a:extLst>
              <a:ext uri="{FF2B5EF4-FFF2-40B4-BE49-F238E27FC236}">
                <a16:creationId xmlns:a16="http://schemas.microsoft.com/office/drawing/2014/main" id="{A5B87F88-1840-FD6F-7724-6FBDEB1A574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630550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8" name="Picture Placeholder 13">
            <a:extLst>
              <a:ext uri="{FF2B5EF4-FFF2-40B4-BE49-F238E27FC236}">
                <a16:creationId xmlns:a16="http://schemas.microsoft.com/office/drawing/2014/main" id="{A7D84A63-B331-8622-DDC5-4D5301BF64A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428479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77DEBFB9-8C26-FDCE-39F7-E63395BC7EB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0226408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44BA52C7-035F-7148-BCE9-2371B4EBE33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4024336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F14FA3A6-A823-22B9-EE66-97CF5C1DEA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98209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5464D427-2C6E-5D04-E3B7-B54B4CFF37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4374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1A55B09E-E458-56A4-BEBD-E3518AA50A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043486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D9712A65-1E55-1AAC-1F49-8686E5090E4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372598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id="{138BBE78-D23B-C548-90A3-628D17816A8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3701711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1C935983-7755-5154-519D-9FE5EBA80E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44352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*3 Gri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82BE1B0A-3EFA-CDCD-ACC1-0E1BD80F69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1675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63077C04-EE84-814F-7B2F-0CC65C0D53C1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714375" y="1889656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293B461-3AC5-965C-0E00-0FEB9D48CE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42556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27D520F5-6EC0-AC8D-1668-71F10795B5C4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425564" y="189462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08B1C77-9500-179A-EE6E-18BD895ED017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1213675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B8B7790-3428-1A55-8625-94F1FC2419D2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12136754" y="189462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A4714B2-4ED7-3602-5E04-E68455AC5979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01675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5916D0D2-1072-1B37-B2A3-E84B806E1C92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714375" y="5689604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F92FDE-4A52-5B65-C311-BCA14C41BB6A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42556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6A15F03-CC85-9E5B-73B8-2E73B47E40CA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425564" y="568960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9A53EF9-EA9A-60BD-3F5E-3045DE69141C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1213675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79413566-88CF-1923-92B0-48B2B74519A2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12136754" y="568960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05ACDC91-19E7-0788-BDCD-F383247D74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81846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F66BD8F-401F-2DBF-0BEE-85CAEC4F13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635584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347" imgH="348" progId="TCLayout.ActiveDocument.1">
                  <p:embed/>
                </p:oleObj>
              </mc:Choice>
              <mc:Fallback>
                <p:oleObj name="think-cell Slide" r:id="rId21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66BD8F-401F-2DBF-0BEE-85CAEC4F13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E4C60E1-108D-7890-2148-7CDB8BD502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75" y="317500"/>
            <a:ext cx="16859250" cy="126682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527DE4-6E8F-79F4-2C2B-8BC05FCBFF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4375" y="1889656"/>
            <a:ext cx="16859250" cy="73255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8E5665-37C2-54D6-D1C6-35E05DF839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773525" y="9501500"/>
            <a:ext cx="800100" cy="46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Rectangle: Top Corners Rounded 20">
            <a:extLst>
              <a:ext uri="{FF2B5EF4-FFF2-40B4-BE49-F238E27FC236}">
                <a16:creationId xmlns:a16="http://schemas.microsoft.com/office/drawing/2014/main" id="{959F2CA7-B6BF-8125-5E2E-6835373F22E4}"/>
              </a:ext>
            </a:extLst>
          </p:cNvPr>
          <p:cNvSpPr/>
          <p:nvPr userDrawn="1"/>
        </p:nvSpPr>
        <p:spPr>
          <a:xfrm rot="5400000" flipH="1">
            <a:off x="-492444" y="809943"/>
            <a:ext cx="1289687" cy="3048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D220426-4054-0550-CCFE-D2AFE3352B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05200" y="9520560"/>
            <a:ext cx="8466600" cy="44894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EAC737F1-E18A-A2F6-7406-C694B5585016}"/>
              </a:ext>
            </a:extLst>
          </p:cNvPr>
          <p:cNvSpPr/>
          <p:nvPr userDrawn="1"/>
        </p:nvSpPr>
        <p:spPr>
          <a:xfrm>
            <a:off x="742950" y="9501500"/>
            <a:ext cx="2381250" cy="551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go Placeholder</a:t>
            </a:r>
          </a:p>
        </p:txBody>
      </p:sp>
    </p:spTree>
    <p:extLst>
      <p:ext uri="{BB962C8B-B14F-4D97-AF65-F5344CB8AC3E}">
        <p14:creationId xmlns:p14="http://schemas.microsoft.com/office/powerpoint/2010/main" val="28732720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685" r:id="rId2"/>
    <p:sldLayoutId id="2147483662" r:id="rId3"/>
    <p:sldLayoutId id="2147483695" r:id="rId4"/>
    <p:sldLayoutId id="2147483696" r:id="rId5"/>
    <p:sldLayoutId id="2147483676" r:id="rId6"/>
    <p:sldLayoutId id="2147483697" r:id="rId7"/>
    <p:sldLayoutId id="2147483698" r:id="rId8"/>
    <p:sldLayoutId id="2147483678" r:id="rId9"/>
    <p:sldLayoutId id="2147483679" r:id="rId10"/>
    <p:sldLayoutId id="2147483681" r:id="rId11"/>
    <p:sldLayoutId id="2147483682" r:id="rId12"/>
    <p:sldLayoutId id="2147483683" r:id="rId13"/>
    <p:sldLayoutId id="2147483684" r:id="rId14"/>
    <p:sldLayoutId id="2147483680" r:id="rId15"/>
    <p:sldLayoutId id="2147483688" r:id="rId16"/>
    <p:sldLayoutId id="2147483692" r:id="rId17"/>
    <p:sldLayoutId id="2147483701" r:id="rId1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4000" b="1" kern="1200">
          <a:solidFill>
            <a:schemeClr val="accent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</p:titleStyle>
    <p:bodyStyle>
      <a:lvl1pPr marL="36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  <a:lvl2pPr marL="72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2pPr>
      <a:lvl3pPr marL="108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3pPr>
      <a:lvl4pPr marL="144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4pPr>
      <a:lvl5pPr marL="180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2" userDrawn="1">
          <p15:clr>
            <a:srgbClr val="F26B43"/>
          </p15:clr>
        </p15:guide>
        <p15:guide id="2" pos="442" userDrawn="1">
          <p15:clr>
            <a:srgbClr val="F26B43"/>
          </p15:clr>
        </p15:guide>
        <p15:guide id="3" pos="11078" userDrawn="1">
          <p15:clr>
            <a:srgbClr val="F26B43"/>
          </p15:clr>
        </p15:guide>
        <p15:guide id="4" orient="horz" pos="1008" userDrawn="1">
          <p15:clr>
            <a:srgbClr val="F26B43"/>
          </p15:clr>
        </p15:guide>
        <p15:guide id="5" orient="horz" pos="1190" userDrawn="1">
          <p15:clr>
            <a:srgbClr val="F26B43"/>
          </p15:clr>
        </p15:guide>
        <p15:guide id="6" orient="horz" pos="6278" userDrawn="1">
          <p15:clr>
            <a:srgbClr val="F26B43"/>
          </p15:clr>
        </p15:guide>
        <p15:guide id="7" orient="horz" pos="581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chart" Target="../charts/chart4.xml"/><Relationship Id="rId3" Type="http://schemas.openxmlformats.org/officeDocument/2006/relationships/oleObject" Target="../embeddings/oleObject3.bin"/><Relationship Id="rId7" Type="http://schemas.openxmlformats.org/officeDocument/2006/relationships/chart" Target="../charts/chart3.xml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3.xml"/><Relationship Id="rId6" Type="http://schemas.openxmlformats.org/officeDocument/2006/relationships/chart" Target="../charts/chart2.xml"/><Relationship Id="rId11" Type="http://schemas.openxmlformats.org/officeDocument/2006/relationships/chart" Target="../charts/chart7.xml"/><Relationship Id="rId5" Type="http://schemas.openxmlformats.org/officeDocument/2006/relationships/chart" Target="../charts/chart1.xml"/><Relationship Id="rId10" Type="http://schemas.openxmlformats.org/officeDocument/2006/relationships/chart" Target="../charts/chart6.xml"/><Relationship Id="rId4" Type="http://schemas.openxmlformats.org/officeDocument/2006/relationships/image" Target="../media/image2.emf"/><Relationship Id="rId9" Type="http://schemas.openxmlformats.org/officeDocument/2006/relationships/chart" Target="../charts/char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87439E-281D-A4C4-32E1-E08B8ED0F47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C8FC4767-FDE7-9F9D-7751-8F3C0A1C9D4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8FC4767-FDE7-9F9D-7751-8F3C0A1C9D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A8338DD-9AF4-1333-961E-8441A98417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Bar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CE3465E6-250E-6392-04AF-96C8DF6B6588}"/>
              </a:ext>
            </a:extLst>
          </p:cNvPr>
          <p:cNvSpPr txBox="1">
            <a:spLocks/>
          </p:cNvSpPr>
          <p:nvPr/>
        </p:nvSpPr>
        <p:spPr>
          <a:xfrm>
            <a:off x="17375802" y="9974502"/>
            <a:ext cx="535782" cy="289716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>
                <a:solidFill>
                  <a:schemeClr val="bg1"/>
                </a:solidFill>
              </a:rPr>
              <a:pPr algn="ctr"/>
              <a:t>1</a:t>
            </a:fld>
            <a:endParaRPr lang="en-US" dirty="0">
              <a:solidFill>
                <a:schemeClr val="bg1"/>
              </a:solidFill>
            </a:endParaRPr>
          </a:p>
        </p:txBody>
      </p:sp>
      <p:graphicFrame>
        <p:nvGraphicFramePr>
          <p:cNvPr id="8" name="Table 2">
            <a:extLst>
              <a:ext uri="{FF2B5EF4-FFF2-40B4-BE49-F238E27FC236}">
                <a16:creationId xmlns:a16="http://schemas.microsoft.com/office/drawing/2014/main" id="{6437F2BA-620D-A7FD-C6EB-E2E094B8BF47}"/>
              </a:ext>
            </a:extLst>
          </p:cNvPr>
          <p:cNvGraphicFramePr>
            <a:graphicFrameLocks noGrp="1"/>
          </p:cNvGraphicFramePr>
          <p:nvPr/>
        </p:nvGraphicFramePr>
        <p:xfrm>
          <a:off x="776554" y="1776833"/>
          <a:ext cx="16734896" cy="685175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382746">
                  <a:extLst>
                    <a:ext uri="{9D8B030D-6E8A-4147-A177-3AD203B41FA5}">
                      <a16:colId xmlns:a16="http://schemas.microsoft.com/office/drawing/2014/main" val="209073432"/>
                    </a:ext>
                  </a:extLst>
                </a:gridCol>
                <a:gridCol w="1907450">
                  <a:extLst>
                    <a:ext uri="{9D8B030D-6E8A-4147-A177-3AD203B41FA5}">
                      <a16:colId xmlns:a16="http://schemas.microsoft.com/office/drawing/2014/main" val="1359006512"/>
                    </a:ext>
                  </a:extLst>
                </a:gridCol>
                <a:gridCol w="1907450">
                  <a:extLst>
                    <a:ext uri="{9D8B030D-6E8A-4147-A177-3AD203B41FA5}">
                      <a16:colId xmlns:a16="http://schemas.microsoft.com/office/drawing/2014/main" val="452308803"/>
                    </a:ext>
                  </a:extLst>
                </a:gridCol>
                <a:gridCol w="1907450">
                  <a:extLst>
                    <a:ext uri="{9D8B030D-6E8A-4147-A177-3AD203B41FA5}">
                      <a16:colId xmlns:a16="http://schemas.microsoft.com/office/drawing/2014/main" val="3134237105"/>
                    </a:ext>
                  </a:extLst>
                </a:gridCol>
                <a:gridCol w="1907450">
                  <a:extLst>
                    <a:ext uri="{9D8B030D-6E8A-4147-A177-3AD203B41FA5}">
                      <a16:colId xmlns:a16="http://schemas.microsoft.com/office/drawing/2014/main" val="585510681"/>
                    </a:ext>
                  </a:extLst>
                </a:gridCol>
                <a:gridCol w="1907450">
                  <a:extLst>
                    <a:ext uri="{9D8B030D-6E8A-4147-A177-3AD203B41FA5}">
                      <a16:colId xmlns:a16="http://schemas.microsoft.com/office/drawing/2014/main" val="563736982"/>
                    </a:ext>
                  </a:extLst>
                </a:gridCol>
                <a:gridCol w="1907450">
                  <a:extLst>
                    <a:ext uri="{9D8B030D-6E8A-4147-A177-3AD203B41FA5}">
                      <a16:colId xmlns:a16="http://schemas.microsoft.com/office/drawing/2014/main" val="3346023102"/>
                    </a:ext>
                  </a:extLst>
                </a:gridCol>
                <a:gridCol w="1907450">
                  <a:extLst>
                    <a:ext uri="{9D8B030D-6E8A-4147-A177-3AD203B41FA5}">
                      <a16:colId xmlns:a16="http://schemas.microsoft.com/office/drawing/2014/main" val="588875718"/>
                    </a:ext>
                  </a:extLst>
                </a:gridCol>
              </a:tblGrid>
              <a:tr h="829856">
                <a:tc>
                  <a:txBody>
                    <a:bodyPr/>
                    <a:lstStyle/>
                    <a:p>
                      <a:r>
                        <a:rPr lang="en-IN" sz="2100" dirty="0">
                          <a:solidFill>
                            <a:schemeClr val="bg1"/>
                          </a:solidFill>
                          <a:latin typeface="+mn-lt"/>
                        </a:rPr>
                        <a:t>Title</a:t>
                      </a:r>
                    </a:p>
                  </a:txBody>
                  <a:tcPr marL="133149" marR="133149" marT="131054" marB="131054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0" lang="en-IN" sz="2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itle</a:t>
                      </a:r>
                      <a:endParaRPr lang="en-IN" sz="210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133149" marR="133149" marT="131054" marB="131054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0" lang="en-IN" sz="2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itle</a:t>
                      </a:r>
                      <a:endParaRPr lang="en-IN" sz="210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133149" marR="133149" marT="131054" marB="131054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0" lang="en-IN" sz="2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itle</a:t>
                      </a:r>
                      <a:endParaRPr lang="en-IN" sz="210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133149" marR="133149" marT="131054" marB="131054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0" lang="en-IN" sz="2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itle</a:t>
                      </a:r>
                      <a:endParaRPr lang="en-IN" sz="210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133149" marR="133149" marT="131054" marB="131054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0" lang="en-IN" sz="2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itle</a:t>
                      </a:r>
                      <a:endParaRPr lang="en-IN" sz="210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133149" marR="133149" marT="131054" marB="131054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0" lang="en-IN" sz="2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itle</a:t>
                      </a:r>
                      <a:endParaRPr lang="en-IN" sz="210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133149" marR="133149" marT="131054" marB="131054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0" lang="en-IN" sz="2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itle</a:t>
                      </a:r>
                      <a:endParaRPr lang="en-IN" sz="210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133149" marR="133149" marT="131054" marB="131054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2148821"/>
                  </a:ext>
                </a:extLst>
              </a:tr>
              <a:tr h="2007299">
                <a:tc>
                  <a:txBody>
                    <a:bodyPr/>
                    <a:lstStyle/>
                    <a:p>
                      <a:r>
                        <a:rPr lang="en-IN" sz="2100" dirty="0">
                          <a:solidFill>
                            <a:schemeClr val="tx1"/>
                          </a:solidFill>
                          <a:latin typeface="+mn-lt"/>
                        </a:rPr>
                        <a:t>Insert Text Here</a:t>
                      </a:r>
                    </a:p>
                  </a:txBody>
                  <a:tcPr marL="133149" marR="133149" marT="131054" marB="131054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IN" sz="21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33149" marR="133149" marT="131054" marB="131054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IN" sz="21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33149" marR="133149" marT="131054" marB="131054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IN" sz="21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33149" marR="133149" marT="131054" marB="131054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IN" sz="21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33149" marR="133149" marT="131054" marB="131054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IN" sz="21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33149" marR="133149" marT="131054" marB="131054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IN" sz="21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33149" marR="133149" marT="131054" marB="131054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IN" sz="21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33149" marR="133149" marT="131054" marB="131054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77433772"/>
                  </a:ext>
                </a:extLst>
              </a:tr>
              <a:tr h="2007299">
                <a:tc>
                  <a:txBody>
                    <a:bodyPr/>
                    <a:lstStyle/>
                    <a:p>
                      <a:r>
                        <a:rPr lang="en-IN" sz="2100" dirty="0">
                          <a:solidFill>
                            <a:schemeClr val="tx1"/>
                          </a:solidFill>
                          <a:latin typeface="+mn-lt"/>
                        </a:rPr>
                        <a:t>Insert Text Here</a:t>
                      </a:r>
                    </a:p>
                  </a:txBody>
                  <a:tcPr marL="133149" marR="133149" marT="131054" marB="131054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IN" sz="21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33149" marR="133149" marT="131054" marB="131054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IN" sz="21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33149" marR="133149" marT="131054" marB="131054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IN" sz="21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33149" marR="133149" marT="131054" marB="131054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IN" sz="21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33149" marR="133149" marT="131054" marB="131054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IN" sz="21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33149" marR="133149" marT="131054" marB="131054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IN" sz="21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33149" marR="133149" marT="131054" marB="131054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IN" sz="21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33149" marR="133149" marT="131054" marB="131054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71744574"/>
                  </a:ext>
                </a:extLst>
              </a:tr>
              <a:tr h="2007299">
                <a:tc>
                  <a:txBody>
                    <a:bodyPr/>
                    <a:lstStyle/>
                    <a:p>
                      <a:r>
                        <a:rPr lang="en-IN" sz="2100" dirty="0">
                          <a:solidFill>
                            <a:schemeClr val="tx1"/>
                          </a:solidFill>
                          <a:latin typeface="+mn-lt"/>
                        </a:rPr>
                        <a:t>Insert Text Here</a:t>
                      </a:r>
                    </a:p>
                  </a:txBody>
                  <a:tcPr marL="133149" marR="133149" marT="131054" marB="131054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IN" sz="21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33149" marR="133149" marT="131054" marB="131054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IN" sz="21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33149" marR="133149" marT="131054" marB="131054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IN" sz="21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33149" marR="133149" marT="131054" marB="131054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IN" sz="21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33149" marR="133149" marT="131054" marB="131054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IN" sz="21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33149" marR="133149" marT="131054" marB="131054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IN" sz="21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33149" marR="133149" marT="131054" marB="131054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IN" sz="21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33149" marR="133149" marT="131054" marB="131054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8299071"/>
                  </a:ext>
                </a:extLst>
              </a:tr>
            </a:tbl>
          </a:graphicData>
        </a:graphic>
      </p:graphicFrame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6EE53351-6BDD-CC98-EC7E-62507401155F}"/>
              </a:ext>
            </a:extLst>
          </p:cNvPr>
          <p:cNvGraphicFramePr/>
          <p:nvPr/>
        </p:nvGraphicFramePr>
        <p:xfrm>
          <a:off x="4484878" y="2726223"/>
          <a:ext cx="1304657" cy="61132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0987CB4B-BBFC-0564-C0DA-D862F7748117}"/>
              </a:ext>
            </a:extLst>
          </p:cNvPr>
          <p:cNvGraphicFramePr/>
          <p:nvPr/>
        </p:nvGraphicFramePr>
        <p:xfrm>
          <a:off x="6407915" y="2726223"/>
          <a:ext cx="1304657" cy="61132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C55BBC25-6743-1F38-0214-E6A45042B3B6}"/>
              </a:ext>
            </a:extLst>
          </p:cNvPr>
          <p:cNvGraphicFramePr/>
          <p:nvPr/>
        </p:nvGraphicFramePr>
        <p:xfrm>
          <a:off x="8330954" y="2726223"/>
          <a:ext cx="1304657" cy="61132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29BB3834-2635-4DD1-053F-F3351F085D1C}"/>
              </a:ext>
            </a:extLst>
          </p:cNvPr>
          <p:cNvGraphicFramePr/>
          <p:nvPr/>
        </p:nvGraphicFramePr>
        <p:xfrm>
          <a:off x="10253993" y="2726223"/>
          <a:ext cx="1304657" cy="61132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13" name="Chart 12">
            <a:extLst>
              <a:ext uri="{FF2B5EF4-FFF2-40B4-BE49-F238E27FC236}">
                <a16:creationId xmlns:a16="http://schemas.microsoft.com/office/drawing/2014/main" id="{A5B1F3DD-73A2-B372-059B-1282B6C43FF2}"/>
              </a:ext>
            </a:extLst>
          </p:cNvPr>
          <p:cNvGraphicFramePr/>
          <p:nvPr/>
        </p:nvGraphicFramePr>
        <p:xfrm>
          <a:off x="12177032" y="2726223"/>
          <a:ext cx="1458677" cy="61132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4" name="Chart 13">
            <a:extLst>
              <a:ext uri="{FF2B5EF4-FFF2-40B4-BE49-F238E27FC236}">
                <a16:creationId xmlns:a16="http://schemas.microsoft.com/office/drawing/2014/main" id="{AAFA8E56-3DEF-3D93-F678-97F4C8CBF29B}"/>
              </a:ext>
            </a:extLst>
          </p:cNvPr>
          <p:cNvGraphicFramePr/>
          <p:nvPr/>
        </p:nvGraphicFramePr>
        <p:xfrm>
          <a:off x="14100071" y="2726223"/>
          <a:ext cx="1304657" cy="61132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5" name="Chart 14">
            <a:extLst>
              <a:ext uri="{FF2B5EF4-FFF2-40B4-BE49-F238E27FC236}">
                <a16:creationId xmlns:a16="http://schemas.microsoft.com/office/drawing/2014/main" id="{CF89F380-8755-4C37-61AE-69EFD53BD9C3}"/>
              </a:ext>
            </a:extLst>
          </p:cNvPr>
          <p:cNvGraphicFramePr/>
          <p:nvPr/>
        </p:nvGraphicFramePr>
        <p:xfrm>
          <a:off x="16023109" y="2726223"/>
          <a:ext cx="1304657" cy="61132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</p:spTree>
    <p:extLst>
      <p:ext uri="{BB962C8B-B14F-4D97-AF65-F5344CB8AC3E}">
        <p14:creationId xmlns:p14="http://schemas.microsoft.com/office/powerpoint/2010/main" val="41373960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AnalystAcademy">
      <a:dk1>
        <a:sysClr val="windowText" lastClr="000000"/>
      </a:dk1>
      <a:lt1>
        <a:sysClr val="window" lastClr="FFFFFF"/>
      </a:lt1>
      <a:dk2>
        <a:srgbClr val="121418"/>
      </a:dk2>
      <a:lt2>
        <a:srgbClr val="FFFFFF"/>
      </a:lt2>
      <a:accent1>
        <a:srgbClr val="04162B"/>
      </a:accent1>
      <a:accent2>
        <a:srgbClr val="359CD5"/>
      </a:accent2>
      <a:accent3>
        <a:srgbClr val="DCDCDC"/>
      </a:accent3>
      <a:accent4>
        <a:srgbClr val="5C946E"/>
      </a:accent4>
      <a:accent5>
        <a:srgbClr val="F4B400"/>
      </a:accent5>
      <a:accent6>
        <a:srgbClr val="E67E22"/>
      </a:accent6>
      <a:hlink>
        <a:srgbClr val="002060"/>
      </a:hlink>
      <a:folHlink>
        <a:srgbClr val="0070C0"/>
      </a:folHlink>
    </a:clrScheme>
    <a:fontScheme name="Analyst Academ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54</TotalTime>
  <Words>40</Words>
  <Application>Microsoft Office PowerPoint</Application>
  <PresentationFormat>Custom</PresentationFormat>
  <Paragraphs>3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Crimson Pro</vt:lpstr>
      <vt:lpstr>Aptos</vt:lpstr>
      <vt:lpstr>Symbol</vt:lpstr>
      <vt:lpstr>Arial</vt:lpstr>
      <vt:lpstr>Custom Design</vt:lpstr>
      <vt:lpstr>think-cell Slide</vt:lpstr>
      <vt:lpstr>Bar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alyst Academy Template</dc:title>
  <dc:subject/>
  <dc:creator>Analyst Academy LLC</dc:creator>
  <cp:keywords/>
  <dc:description/>
  <cp:lastModifiedBy>Diam Cabatay</cp:lastModifiedBy>
  <cp:revision>377</cp:revision>
  <dcterms:created xsi:type="dcterms:W3CDTF">2006-08-16T00:00:00Z</dcterms:created>
  <dcterms:modified xsi:type="dcterms:W3CDTF">2025-10-06T09:59:39Z</dcterms:modified>
  <cp:category/>
  <dc:identifier>DAGkDf5R9EM</dc:identifier>
</cp:coreProperties>
</file>